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5C1567E9-2321-4635-A730-132995344060}">
          <p14:sldIdLst>
            <p14:sldId id="2147476952"/>
            <p14:sldId id="2147476953"/>
            <p14:sldId id="2147476954"/>
            <p14:sldId id="2147476955"/>
          </p14:sldIdLst>
        </p14:section>
        <p14:section name="Brand Sourcing Analysis" id="{E4FDD3D7-AC9A-426C-98FB-ECA3F690D426}">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856DA053-FB79-4F85-817D-52324CF45844}">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959CFBEB-C465-4001-8E74-19D0A0D0A230}">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45B8A4BB-C5C3-47CC-9851-17C6863E2001}">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A17954CD-5604-493C-83E3-92084948C015}">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4/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4/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4/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793795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7434076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3571421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3468818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16941098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8954840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417726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6442578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35657002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15126426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8717821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512973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3764297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3405736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5535601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8290337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347372440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178983206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17633113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4961627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404678676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11232640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576052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241430396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72060811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41887533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0442161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68148823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10066931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27548948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28619851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6441065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461690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967340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41945387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6056714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0942211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954833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27968021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187140859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39132180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2859273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419929995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65098873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75281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48995521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40376432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92255294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38643768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51878365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771467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1691307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3571610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921137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765999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54973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513975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236766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244433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4156275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4107344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2318894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2353195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488669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124091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694705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28336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9430190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197392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17139698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9778896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40392690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9409575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657702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1805974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7868347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6457000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4901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3629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6302478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521242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888246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8115249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3439818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5855417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37401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754034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11938577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735252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8544189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747597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0772739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42403801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539226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5196399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629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2867837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356884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350038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714376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4166726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7644360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7004754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0129377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200757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8835574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8291229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8189828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9759673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8962320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65204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3955343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61815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724819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314046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8653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428214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361486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952089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55610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584569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61883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5001761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038533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019320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08967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06609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601161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619404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50896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174677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108641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27640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79226063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893093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780360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37327205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7009800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13735790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3885328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03613697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9709048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514184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641894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4T13:4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